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128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1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D4999EB-3245-3EC8-68F8-41D4559DF4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think-cell data - do not delete" hidden="1">
            <a:extLst>
              <a:ext uri="{FF2B5EF4-FFF2-40B4-BE49-F238E27FC236}">
                <a16:creationId xmlns:a16="http://schemas.microsoft.com/office/drawing/2014/main" id="{FC1FD6FB-F921-4960-43A3-E8C05A4471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C1FD6FB-F921-4960-43A3-E8C05A4471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38BC8F4-AF2C-DF25-E5E5-67231FED16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E4DC61D-3B92-6B9F-3C79-8447D0257A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AFFF564D-6C39-CC12-3292-AF1A0428F27C}"/>
              </a:ext>
            </a:extLst>
          </p:cNvPr>
          <p:cNvGrpSpPr/>
          <p:nvPr/>
        </p:nvGrpSpPr>
        <p:grpSpPr>
          <a:xfrm>
            <a:off x="419099" y="1128813"/>
            <a:ext cx="5237779" cy="623537"/>
            <a:chOff x="5138982" y="3547585"/>
            <a:chExt cx="2638320" cy="623537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B4B75A3D-91F5-E575-BA3C-7DC1638ADAD7}"/>
                </a:ext>
              </a:extLst>
            </p:cNvPr>
            <p:cNvSpPr txBox="1">
              <a:spLocks/>
            </p:cNvSpPr>
            <p:nvPr/>
          </p:nvSpPr>
          <p:spPr>
            <a:xfrm>
              <a:off x="5138982" y="3547585"/>
              <a:ext cx="2638320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rPr>
                <a:t>Subtitle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DBFF3A02-9046-D7C7-E987-75629FBA46A5}"/>
                </a:ext>
              </a:extLst>
            </p:cNvPr>
            <p:cNvSpPr txBox="1">
              <a:spLocks/>
            </p:cNvSpPr>
            <p:nvPr/>
          </p:nvSpPr>
          <p:spPr>
            <a:xfrm>
              <a:off x="5138982" y="3924901"/>
              <a:ext cx="2638320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rPr>
                <a:t>Insert Text Here</a:t>
              </a: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3864A57B-504E-9C5E-FC3E-9015F460B901}"/>
              </a:ext>
            </a:extLst>
          </p:cNvPr>
          <p:cNvGrpSpPr/>
          <p:nvPr/>
        </p:nvGrpSpPr>
        <p:grpSpPr>
          <a:xfrm>
            <a:off x="6524683" y="1128813"/>
            <a:ext cx="5237779" cy="623537"/>
            <a:chOff x="5138982" y="3547585"/>
            <a:chExt cx="2638320" cy="623537"/>
          </a:xfrm>
        </p:grpSpPr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E164B059-8CD8-D324-8B15-2FB9B645E0AF}"/>
                </a:ext>
              </a:extLst>
            </p:cNvPr>
            <p:cNvSpPr txBox="1">
              <a:spLocks/>
            </p:cNvSpPr>
            <p:nvPr/>
          </p:nvSpPr>
          <p:spPr>
            <a:xfrm>
              <a:off x="5138982" y="3547585"/>
              <a:ext cx="2638320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rPr>
                <a:t>Subtitle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CA5B39B3-AA6D-6173-3D71-A53DC26B68AB}"/>
                </a:ext>
              </a:extLst>
            </p:cNvPr>
            <p:cNvSpPr txBox="1">
              <a:spLocks/>
            </p:cNvSpPr>
            <p:nvPr/>
          </p:nvSpPr>
          <p:spPr>
            <a:xfrm>
              <a:off x="5138982" y="3924901"/>
              <a:ext cx="2638320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rPr>
                <a:t>Insert Text He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538634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604</TotalTime>
  <Words>10</Words>
  <Application>Microsoft Office PowerPoint</Application>
  <PresentationFormat>Widescreen</PresentationFormat>
  <Paragraphs>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Tab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589</cp:revision>
  <dcterms:created xsi:type="dcterms:W3CDTF">2021-03-31T02:49:57Z</dcterms:created>
  <dcterms:modified xsi:type="dcterms:W3CDTF">2025-10-15T08:48:41Z</dcterms:modified>
  <cp:category/>
</cp:coreProperties>
</file>